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68" r:id="rId2"/>
    <p:sldId id="269" r:id="rId3"/>
    <p:sldId id="270" r:id="rId4"/>
    <p:sldId id="271" r:id="rId5"/>
    <p:sldId id="272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05" d="100"/>
          <a:sy n="105" d="100"/>
        </p:scale>
        <p:origin x="-315" y="12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15201A-599B-4643-83B5-9B39D8E1A913}" type="datetimeFigureOut">
              <a:rPr lang="en-GB" smtClean="0"/>
              <a:t>28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A215FF-EA00-460F-94A3-D1D7FDC72D0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784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316183F5-B8A3-4FCC-8DC3-2ECF9C869E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3"/>
            <a:ext cx="211667" cy="211667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5867" b="1" i="0" baseline="0" dirty="0">
              <a:solidFill>
                <a:schemeClr val="tx1"/>
              </a:solidFill>
              <a:latin typeface="Arial" panose="020B0604020202020204" pitchFamily="34" charset="0"/>
              <a:ea typeface="Genev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Picture 96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" contras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081" t="20315" r="71" b="26026"/>
          <a:stretch/>
        </p:blipFill>
        <p:spPr bwMode="auto">
          <a:xfrm>
            <a:off x="1" y="688709"/>
            <a:ext cx="12201307" cy="5733033"/>
          </a:xfrm>
          <a:prstGeom prst="rect">
            <a:avLst/>
          </a:prstGeom>
          <a:solidFill>
            <a:schemeClr val="tx1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30"/>
            <a:ext cx="9582149" cy="3591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175987"/>
            <a:ext cx="9580951" cy="740395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58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0363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">
            <a:extLst>
              <a:ext uri="{FF2B5EF4-FFF2-40B4-BE49-F238E27FC236}">
                <a16:creationId xmlns:a16="http://schemas.microsoft.com/office/drawing/2014/main" xmlns="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291" y="588435"/>
            <a:ext cx="11503741" cy="5805387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</a:t>
            </a:r>
            <a:r>
              <a:rPr lang="en-US" dirty="0" err="1"/>
              <a:t>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175986"/>
            <a:ext cx="9580951" cy="740395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5867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11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793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11" name="Titel 10"/>
          <p:cNvSpPr txBox="1">
            <a:spLocks/>
          </p:cNvSpPr>
          <p:nvPr userDrawn="1"/>
        </p:nvSpPr>
        <p:spPr bwMode="gray">
          <a:xfrm>
            <a:off x="1310179" y="3175987"/>
            <a:ext cx="9580951" cy="7403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5867" dirty="0">
                <a:solidFill>
                  <a:schemeClr val="tx1"/>
                </a:solidFill>
              </a:rPr>
              <a:t>Title of the presentation</a:t>
            </a:r>
          </a:p>
        </p:txBody>
      </p:sp>
      <p:sp>
        <p:nvSpPr>
          <p:cNvPr id="13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9542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elplatzhalter 31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sp>
        <p:nvSpPr>
          <p:cNvPr id="13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760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/>
            <a:fld id="{F083F41A-041A-4006-B4DB-57C47C38AE86}" type="datetime1">
              <a:rPr lang="en-GB" smtClean="0"/>
              <a:pPr defTabSz="914377"/>
              <a:t>28/04/2020</a:t>
            </a:fld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</a:defRPr>
            </a:lvl1pPr>
            <a:lvl2pPr marL="838179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295368" indent="-38099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3pPr>
            <a:lvl4pPr marL="1752556" indent="-38099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209745" indent="-38099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2558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408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1"/>
          <p:cNvSpPr/>
          <p:nvPr userDrawn="1"/>
        </p:nvSpPr>
        <p:spPr>
          <a:xfrm>
            <a:off x="851651" y="953730"/>
            <a:ext cx="1058333" cy="505608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txBody>
          <a:bodyPr vert="vert270" lIns="144000" tIns="144000" rIns="144000" bIns="144000" rtlCol="0" anchor="ctr">
            <a:noAutofit/>
          </a:bodyPr>
          <a:lstStyle/>
          <a:p>
            <a:pPr marR="0" lvl="0" indent="0" algn="ctr" defTabSz="914377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None/>
              <a:tabLst/>
            </a:pPr>
            <a:r>
              <a:rPr lang="en-GB" sz="4000" b="1" cap="none" baseline="0" dirty="0">
                <a:solidFill>
                  <a:schemeClr val="bg1"/>
                </a:solidFill>
                <a:ea typeface="Geneva" pitchFamily="-128" charset="-128"/>
              </a:rPr>
              <a:t>Agenda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426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">
            <a:extLst>
              <a:ext uri="{FF2B5EF4-FFF2-40B4-BE49-F238E27FC236}">
                <a16:creationId xmlns:a16="http://schemas.microsoft.com/office/drawing/2014/main" xmlns="" id="{55E67CD1-BDEF-463A-B4CF-FBA9CA1FF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3291" y="588435"/>
            <a:ext cx="11503741" cy="5805387"/>
          </a:xfrm>
          <a:solidFill>
            <a:schemeClr val="accent3"/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picture from </a:t>
            </a:r>
            <a:r>
              <a:rPr lang="en-US" dirty="0" err="1"/>
              <a:t>imagepack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10216" y="5550028"/>
            <a:ext cx="9582149" cy="388656"/>
          </a:xfrm>
        </p:spPr>
        <p:txBody>
          <a:bodyPr/>
          <a:lstStyle>
            <a:lvl1pPr marL="0" indent="0">
              <a:buNone/>
              <a:defRPr sz="1867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, date</a:t>
            </a:r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 bwMode="gray">
          <a:xfrm>
            <a:off x="1310179" y="3377902"/>
            <a:ext cx="9580951" cy="538481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80000"/>
              </a:lnSpc>
              <a:defRPr sz="4267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!</a:t>
            </a:r>
          </a:p>
        </p:txBody>
      </p:sp>
      <p:sp>
        <p:nvSpPr>
          <p:cNvPr id="10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40" y="6628800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32"/>
            <a:fld id="{F083F41A-041A-4006-B4DB-57C47C38AE86}" type="datetime1">
              <a:rPr lang="en-GB" smtClean="0"/>
              <a:pPr defTabSz="914332"/>
              <a:t>28/04/2020</a:t>
            </a:fld>
            <a:endParaRPr lang="en-GB" dirty="0"/>
          </a:p>
        </p:txBody>
      </p:sp>
      <p:sp>
        <p:nvSpPr>
          <p:cNvPr id="11" name="Titel 10"/>
          <p:cNvSpPr txBox="1">
            <a:spLocks/>
          </p:cNvSpPr>
          <p:nvPr userDrawn="1"/>
        </p:nvSpPr>
        <p:spPr bwMode="gray">
          <a:xfrm>
            <a:off x="1354686" y="4353985"/>
            <a:ext cx="9580951" cy="53848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267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954931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7" y="1825625"/>
            <a:ext cx="9575223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feld 26"/>
          <p:cNvSpPr txBox="1">
            <a:spLocks noChangeArrowheads="1"/>
          </p:cNvSpPr>
          <p:nvPr userDrawn="1"/>
        </p:nvSpPr>
        <p:spPr bwMode="gray">
          <a:xfrm>
            <a:off x="10755124" y="6634513"/>
            <a:ext cx="13785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l" defTabSz="914377"/>
            <a:fld id="{7D6EB20D-04D2-4A2D-94DA-2F197CC5CE85}" type="slidenum">
              <a:rPr lang="en-GB" sz="800" b="1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l" defTabSz="914377"/>
              <a:t>‹#›</a:t>
            </a:fld>
            <a:endParaRPr lang="en-GB" sz="800" b="1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860" y="6593836"/>
            <a:ext cx="304529" cy="2030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867" y="6523473"/>
            <a:ext cx="436429" cy="29653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74033" y="6632713"/>
            <a:ext cx="62623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b="0" i="0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 project has received funding from the European Union’s horizon 2020 research and innovation programme under grant agreement no 856632</a:t>
            </a:r>
            <a:endParaRPr lang="en-GB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Datumsplatzhalter 28"/>
          <p:cNvSpPr>
            <a:spLocks noGrp="1"/>
          </p:cNvSpPr>
          <p:nvPr>
            <p:ph type="dt" sz="half" idx="2"/>
          </p:nvPr>
        </p:nvSpPr>
        <p:spPr>
          <a:xfrm>
            <a:off x="9060936" y="6628797"/>
            <a:ext cx="49051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 algn="l">
              <a:defRPr lang="de-DE" sz="800" b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4377"/>
            <a:fld id="{F083F41A-041A-4006-B4DB-57C47C38AE86}" type="datetime1">
              <a:rPr lang="en-GB" smtClean="0"/>
              <a:pPr defTabSz="914377"/>
              <a:t>28/04/2020</a:t>
            </a:fld>
            <a:endParaRPr lang="en-GB" dirty="0"/>
          </a:p>
        </p:txBody>
      </p:sp>
      <p:sp>
        <p:nvSpPr>
          <p:cNvPr id="18" name="Textfeld 63"/>
          <p:cNvSpPr txBox="1">
            <a:spLocks/>
          </p:cNvSpPr>
          <p:nvPr userDrawn="1"/>
        </p:nvSpPr>
        <p:spPr>
          <a:xfrm>
            <a:off x="499049" y="304147"/>
            <a:ext cx="3299361" cy="147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67" b="1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agship</a:t>
            </a:r>
            <a:r>
              <a:rPr lang="it-IT" sz="1067" b="1" baseline="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itiative for Big Data in Finance and Insurance</a:t>
            </a:r>
            <a:endParaRPr lang="en-GB" sz="1067" b="1" dirty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itelplatzhalter 31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dirty="0"/>
              <a:t>Headlin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0602" y="159177"/>
            <a:ext cx="2213553" cy="299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94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16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0162" y="1179272"/>
            <a:ext cx="9580951" cy="1787541"/>
          </a:xfrm>
        </p:spPr>
        <p:txBody>
          <a:bodyPr/>
          <a:lstStyle/>
          <a:p>
            <a:r>
              <a:rPr lang="en-GB" sz="4800" dirty="0" err="1"/>
              <a:t>FinTech</a:t>
            </a:r>
            <a:r>
              <a:rPr lang="en-GB" sz="4800" dirty="0"/>
              <a:t> and </a:t>
            </a:r>
            <a:r>
              <a:rPr lang="en-GB" sz="4800" dirty="0" err="1"/>
              <a:t>InsuranceTech</a:t>
            </a:r>
            <a:r>
              <a:rPr lang="en-GB" sz="4800" dirty="0"/>
              <a:t> case studies digitally transforming Europe’s future with </a:t>
            </a:r>
            <a:r>
              <a:rPr lang="en-GB" sz="4800" dirty="0" err="1"/>
              <a:t>BigData</a:t>
            </a:r>
            <a:r>
              <a:rPr lang="en-GB" sz="4800" dirty="0"/>
              <a:t> &amp; AI driven innov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 dirty="0" smtClean="0"/>
              <a:t>Pavlos Kranas, LeanXcale Spain, pavlos@leanxcale.com</a:t>
            </a:r>
            <a:endParaRPr lang="en-GB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gray">
          <a:xfrm>
            <a:off x="2383511" y="3569941"/>
            <a:ext cx="7394169" cy="149579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867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6000" dirty="0" smtClean="0"/>
              <a:t>INFINITECH Technical Overview</a:t>
            </a:r>
            <a:endParaRPr lang="en-GB" sz="6000" dirty="0"/>
          </a:p>
        </p:txBody>
      </p:sp>
    </p:spTree>
    <p:extLst>
      <p:ext uri="{BB962C8B-B14F-4D97-AF65-F5344CB8AC3E}">
        <p14:creationId xmlns:p14="http://schemas.microsoft.com/office/powerpoint/2010/main" val="45265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69554" y="1784435"/>
            <a:ext cx="9018144" cy="4351339"/>
          </a:xfrm>
        </p:spPr>
        <p:txBody>
          <a:bodyPr/>
          <a:lstStyle/>
          <a:p>
            <a:r>
              <a:rPr lang="en-GB" dirty="0"/>
              <a:t>AI Architectures in their Infancy</a:t>
            </a:r>
          </a:p>
          <a:p>
            <a:r>
              <a:rPr lang="en-GB" dirty="0"/>
              <a:t>No-Adequate support for real-time AI use cases</a:t>
            </a:r>
          </a:p>
          <a:p>
            <a:pPr lvl="1"/>
            <a:r>
              <a:rPr lang="en-GB" dirty="0"/>
              <a:t>E.g., detection of fraudulent transactions on the fly</a:t>
            </a:r>
          </a:p>
          <a:p>
            <a:r>
              <a:rPr lang="en-GB" dirty="0"/>
              <a:t>Limited Data Set for Training Algorithms &amp; Data “Silos”</a:t>
            </a:r>
          </a:p>
          <a:p>
            <a:r>
              <a:rPr lang="en-GB" dirty="0"/>
              <a:t>Lack of </a:t>
            </a:r>
            <a:r>
              <a:rPr lang="en-GB" dirty="0" err="1"/>
              <a:t>testbed</a:t>
            </a:r>
            <a:r>
              <a:rPr lang="en-GB" dirty="0"/>
              <a:t> &amp; experimentation resources (Data Assets &amp; Sandboxes”)</a:t>
            </a:r>
          </a:p>
          <a:p>
            <a:r>
              <a:rPr lang="en-GB" dirty="0"/>
              <a:t>Business Models not validated</a:t>
            </a:r>
          </a:p>
          <a:p>
            <a:r>
              <a:rPr lang="en-GB" dirty="0"/>
              <a:t>Complex Regulatory Environment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FINITECH Drivers &amp; Motiv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9503" y="1265523"/>
            <a:ext cx="2080965" cy="5202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7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04137" y="840318"/>
            <a:ext cx="9580951" cy="609398"/>
          </a:xfrm>
        </p:spPr>
        <p:txBody>
          <a:bodyPr/>
          <a:lstStyle/>
          <a:p>
            <a:r>
              <a:rPr lang="en-GB" sz="4400" dirty="0"/>
              <a:t>INFINITECH Results &amp; Value Proposition</a:t>
            </a:r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9719" y="1445811"/>
            <a:ext cx="6034698" cy="4941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3525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The INFINITECH AI Technolog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984" y="1372706"/>
            <a:ext cx="8478555" cy="526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393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8.png" descr="C:\Users\e-a12q\Downloads\BigDataMicroservicePipelined (7).png"/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700215" y="609600"/>
            <a:ext cx="10750380" cy="565939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2937319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J5jxYR8GPE.i2KDs8yw"/>
</p:tagLst>
</file>

<file path=ppt/theme/theme1.xml><?xml version="1.0" encoding="utf-8"?>
<a:theme xmlns:a="http://schemas.openxmlformats.org/drawingml/2006/main" name="1_Office Theme">
  <a:themeElements>
    <a:clrScheme name="INFINITECH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E0B00"/>
      </a:accent1>
      <a:accent2>
        <a:srgbClr val="D60F00"/>
      </a:accent2>
      <a:accent3>
        <a:srgbClr val="FF1400"/>
      </a:accent3>
      <a:accent4>
        <a:srgbClr val="272A3F"/>
      </a:accent4>
      <a:accent5>
        <a:srgbClr val="5D6495"/>
      </a:accent5>
      <a:accent6>
        <a:srgbClr val="F0EEE0"/>
      </a:accent6>
      <a:hlink>
        <a:srgbClr val="000000"/>
      </a:hlink>
      <a:folHlink>
        <a:srgbClr val="00000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</TotalTime>
  <Words>90</Words>
  <Application>Microsoft Office PowerPoint</Application>
  <PresentationFormat>Custom</PresentationFormat>
  <Paragraphs>13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1_Office Theme</vt:lpstr>
      <vt:lpstr>think-cell Folie</vt:lpstr>
      <vt:lpstr>FinTech and InsuranceTech case studies digitally transforming Europe’s future with BigData &amp; AI driven innovation</vt:lpstr>
      <vt:lpstr>INFINITECH Drivers &amp; Motivation</vt:lpstr>
      <vt:lpstr>INFINITECH Results &amp; Value Proposition</vt:lpstr>
      <vt:lpstr> The INFINITECH AI Technologies</vt:lpstr>
      <vt:lpstr>PowerPoint Presentation</vt:lpstr>
    </vt:vector>
  </TitlesOfParts>
  <Company>GFT Technolog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ferrino, Vittorio</dc:creator>
  <cp:lastModifiedBy>Pavlos Kranas (LXS)</cp:lastModifiedBy>
  <cp:revision>7</cp:revision>
  <dcterms:created xsi:type="dcterms:W3CDTF">2020-02-20T09:17:13Z</dcterms:created>
  <dcterms:modified xsi:type="dcterms:W3CDTF">2020-04-28T12:02:16Z</dcterms:modified>
</cp:coreProperties>
</file>